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omments/modernComment_407_859BAE78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</p:sldMasterIdLst>
  <p:notesMasterIdLst>
    <p:notesMasterId r:id="rId6"/>
  </p:notesMasterIdLst>
  <p:sldIdLst>
    <p:sldId id="1031" r:id="rId5"/>
  </p:sldIdLst>
  <p:sldSz cx="12192000" cy="6858000"/>
  <p:notesSz cx="6858000" cy="9144000"/>
  <p:custDataLst>
    <p:tags r:id="rId7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DFC4F0-0390-8D52-6E15-5011173FF48D}" name="Neumann, Aaron David" initials="AN" userId="S::utmsq@student.kit.edu::4b78a2c3-dbeb-425f-b121-a9c840816b7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EDF6CD-0E05-44AD-922C-22CDA55291C0}" v="148" dt="2023-07-16T18:01:27.8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77"/>
    <p:restoredTop sz="96327"/>
  </p:normalViewPr>
  <p:slideViewPr>
    <p:cSldViewPr snapToGrid="0">
      <p:cViewPr varScale="1">
        <p:scale>
          <a:sx n="118" d="100"/>
          <a:sy n="118" d="100"/>
        </p:scale>
        <p:origin x="23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ltzr" userId="S::ultzr@student.kit.edu::9c8ad015-8a27-41f4-baba-036e7b08b368" providerId="AD" clId="Web-{77EDF6CD-0E05-44AD-922C-22CDA55291C0}"/>
    <pc:docChg chg="modSld">
      <pc:chgData name="ultzr" userId="S::ultzr@student.kit.edu::9c8ad015-8a27-41f4-baba-036e7b08b368" providerId="AD" clId="Web-{77EDF6CD-0E05-44AD-922C-22CDA55291C0}" dt="2023-07-16T18:01:22.739" v="139" actId="20577"/>
      <pc:docMkLst>
        <pc:docMk/>
      </pc:docMkLst>
      <pc:sldChg chg="modSp">
        <pc:chgData name="ultzr" userId="S::ultzr@student.kit.edu::9c8ad015-8a27-41f4-baba-036e7b08b368" providerId="AD" clId="Web-{77EDF6CD-0E05-44AD-922C-22CDA55291C0}" dt="2023-07-16T18:01:22.739" v="139" actId="20577"/>
        <pc:sldMkLst>
          <pc:docMk/>
          <pc:sldMk cId="2241572472" sldId="1031"/>
        </pc:sldMkLst>
        <pc:spChg chg="mod">
          <ac:chgData name="ultzr" userId="S::ultzr@student.kit.edu::9c8ad015-8a27-41f4-baba-036e7b08b368" providerId="AD" clId="Web-{77EDF6CD-0E05-44AD-922C-22CDA55291C0}" dt="2023-07-16T17:59:53.080" v="102" actId="20577"/>
          <ac:spMkLst>
            <pc:docMk/>
            <pc:sldMk cId="2241572472" sldId="1031"/>
            <ac:spMk id="18" creationId="{309171FA-0F9C-4BD2-8024-176B4E221EFF}"/>
          </ac:spMkLst>
        </pc:spChg>
        <pc:spChg chg="mod">
          <ac:chgData name="ultzr" userId="S::ultzr@student.kit.edu::9c8ad015-8a27-41f4-baba-036e7b08b368" providerId="AD" clId="Web-{77EDF6CD-0E05-44AD-922C-22CDA55291C0}" dt="2023-07-16T18:01:14.442" v="137" actId="20577"/>
          <ac:spMkLst>
            <pc:docMk/>
            <pc:sldMk cId="2241572472" sldId="1031"/>
            <ac:spMk id="36" creationId="{6C9C8FCF-6810-474D-895D-B9EAEFF903B6}"/>
          </ac:spMkLst>
        </pc:spChg>
        <pc:spChg chg="mod">
          <ac:chgData name="ultzr" userId="S::ultzr@student.kit.edu::9c8ad015-8a27-41f4-baba-036e7b08b368" providerId="AD" clId="Web-{77EDF6CD-0E05-44AD-922C-22CDA55291C0}" dt="2023-07-16T18:01:22.739" v="139" actId="20577"/>
          <ac:spMkLst>
            <pc:docMk/>
            <pc:sldMk cId="2241572472" sldId="1031"/>
            <ac:spMk id="39" creationId="{602C0E2F-D632-4006-9AC6-57AE36C5C7B8}"/>
          </ac:spMkLst>
        </pc:spChg>
        <pc:spChg chg="mod">
          <ac:chgData name="ultzr" userId="S::ultzr@student.kit.edu::9c8ad015-8a27-41f4-baba-036e7b08b368" providerId="AD" clId="Web-{77EDF6CD-0E05-44AD-922C-22CDA55291C0}" dt="2023-07-16T18:00:02.814" v="106" actId="20577"/>
          <ac:spMkLst>
            <pc:docMk/>
            <pc:sldMk cId="2241572472" sldId="1031"/>
            <ac:spMk id="55" creationId="{B95BC937-4915-2014-F61A-690B928073AC}"/>
          </ac:spMkLst>
        </pc:spChg>
      </pc:sldChg>
    </pc:docChg>
  </pc:docChgLst>
  <pc:docChgLst>
    <pc:chgData name="Neumann, Aaron David" userId="4b78a2c3-dbeb-425f-b121-a9c840816b7a" providerId="ADAL" clId="{54417EF1-666E-9243-8EA5-B78418CEEEFE}"/>
    <pc:docChg chg="modSld">
      <pc:chgData name="Neumann, Aaron David" userId="4b78a2c3-dbeb-425f-b121-a9c840816b7a" providerId="ADAL" clId="{54417EF1-666E-9243-8EA5-B78418CEEEFE}" dt="2023-07-16T18:50:38.869" v="87" actId="20577"/>
      <pc:docMkLst>
        <pc:docMk/>
      </pc:docMkLst>
      <pc:sldChg chg="modSp mod">
        <pc:chgData name="Neumann, Aaron David" userId="4b78a2c3-dbeb-425f-b121-a9c840816b7a" providerId="ADAL" clId="{54417EF1-666E-9243-8EA5-B78418CEEEFE}" dt="2023-07-16T18:50:38.869" v="87" actId="20577"/>
        <pc:sldMkLst>
          <pc:docMk/>
          <pc:sldMk cId="2241572472" sldId="1031"/>
        </pc:sldMkLst>
        <pc:spChg chg="mod">
          <ac:chgData name="Neumann, Aaron David" userId="4b78a2c3-dbeb-425f-b121-a9c840816b7a" providerId="ADAL" clId="{54417EF1-666E-9243-8EA5-B78418CEEEFE}" dt="2023-07-16T18:50:38.869" v="87" actId="20577"/>
          <ac:spMkLst>
            <pc:docMk/>
            <pc:sldMk cId="2241572472" sldId="1031"/>
            <ac:spMk id="22" creationId="{52896819-A896-6836-7094-5AAA1B3E2253}"/>
          </ac:spMkLst>
        </pc:spChg>
      </pc:sldChg>
    </pc:docChg>
  </pc:docChgLst>
</pc:chgInfo>
</file>

<file path=ppt/comments/modernComment_407_859BAE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A88F896-C9D9-BF46-87FE-1CF4A73DA563}" authorId="{1FDFC4F0-0390-8D52-6E15-5011173FF48D}" created="2023-07-14T16:42:34.86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41572472" sldId="1031"/>
      <ac:spMk id="36" creationId="{6C9C8FCF-6810-474D-895D-B9EAEFF903B6}"/>
    </ac:deMkLst>
    <p188:txBody>
      <a:bodyPr/>
      <a:lstStyle/>
      <a:p>
        <a:r>
          <a:rPr lang="de-DE"/>
          <a:t>Hier kann man Themen wie Ausrichtung, Probleme der Software usw. ansprechen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09AB56-42B5-E64D-820C-28591A884A78}" type="datetimeFigureOut">
              <a:rPr lang="de-DE" smtClean="0"/>
              <a:t>16.07.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E316A-7779-3B41-9775-6F833E0FEBA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7267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56308" y="3618384"/>
            <a:ext cx="11904459" cy="2707437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 dirty="0"/>
              <a:t>Fügen Sie auf der Masterfolie ein frei wählbares Bild ein.</a:t>
            </a:r>
          </a:p>
        </p:txBody>
      </p:sp>
      <p:sp>
        <p:nvSpPr>
          <p:cNvPr id="13" name="Text Box 14">
            <a:extLst>
              <a:ext uri="{FF2B5EF4-FFF2-40B4-BE49-F238E27FC236}">
                <a16:creationId xmlns:a16="http://schemas.microsoft.com/office/drawing/2014/main" id="{6C188393-F356-4F5D-80C7-5DAA7302C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7834" y="6432821"/>
            <a:ext cx="23029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altLang="de-DE" sz="2133" b="1" dirty="0">
                <a:solidFill>
                  <a:schemeClr val="tx1"/>
                </a:solidFill>
              </a:rPr>
              <a:t>www.kit.edu</a:t>
            </a:r>
          </a:p>
        </p:txBody>
      </p:sp>
      <p:sp>
        <p:nvSpPr>
          <p:cNvPr id="17" name="Text Box 14">
            <a:extLst>
              <a:ext uri="{FF2B5EF4-FFF2-40B4-BE49-F238E27FC236}">
                <a16:creationId xmlns:a16="http://schemas.microsoft.com/office/drawing/2014/main" id="{537A5579-09BA-4663-B67D-33B1542057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9662" y="6525687"/>
            <a:ext cx="48088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de-DE" sz="1100" noProof="0" dirty="0"/>
              <a:t>KIT – Die Forschungsuniversität in der Helmholtz-Gemeinschaft</a:t>
            </a:r>
            <a:endParaRPr lang="en-US" sz="1100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486A875-9103-4865-A4A2-F6DFEEEA2E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01" y="479852"/>
            <a:ext cx="2177903" cy="1002890"/>
          </a:xfrm>
          <a:prstGeom prst="rect">
            <a:avLst/>
          </a:prstGeom>
        </p:spPr>
      </p:pic>
      <p:sp>
        <p:nvSpPr>
          <p:cNvPr id="16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87258" y="1927266"/>
            <a:ext cx="11366076" cy="38003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400" b="1"/>
            </a:lvl1pPr>
            <a:lvl2pPr marL="473979" indent="0">
              <a:buFont typeface="Arial" panose="020B0604020202020204" pitchFamily="34" charset="0"/>
              <a:buNone/>
              <a:defRPr sz="3466" b="1"/>
            </a:lvl2pPr>
            <a:lvl3pPr marL="956422" indent="0">
              <a:buFont typeface="Arial" panose="020B0604020202020204" pitchFamily="34" charset="0"/>
              <a:buNone/>
              <a:defRPr sz="3466" b="1"/>
            </a:lvl3pPr>
            <a:lvl4pPr marL="1430402" indent="0">
              <a:buFont typeface="Arial" panose="020B0604020202020204" pitchFamily="34" charset="0"/>
              <a:buNone/>
              <a:defRPr sz="3466" b="1"/>
            </a:lvl4pPr>
            <a:lvl5pPr marL="1912845" indent="0">
              <a:buFont typeface="Arial" panose="020B0604020202020204" pitchFamily="34" charset="0"/>
              <a:buNone/>
              <a:defRPr sz="3466" b="1"/>
            </a:lvl5pPr>
          </a:lstStyle>
          <a:p>
            <a:pPr lvl="0"/>
            <a:r>
              <a:rPr lang="de-DE" dirty="0"/>
              <a:t>Folientitel: Arial 34pt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07567" y="2639093"/>
            <a:ext cx="11354233" cy="6796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399" b="1" i="0" baseline="0"/>
            </a:lvl1pPr>
            <a:lvl2pPr marL="473979" indent="0">
              <a:buFont typeface="Arial" panose="020B0604020202020204" pitchFamily="34" charset="0"/>
              <a:buNone/>
              <a:defRPr sz="2399" b="1" i="0"/>
            </a:lvl2pPr>
            <a:lvl3pPr marL="956422" indent="0">
              <a:buFont typeface="Arial" panose="020B0604020202020204" pitchFamily="34" charset="0"/>
              <a:buNone/>
              <a:defRPr sz="2399" b="1" i="0"/>
            </a:lvl3pPr>
            <a:lvl4pPr marL="1430402" indent="0">
              <a:buFont typeface="Arial" panose="020B0604020202020204" pitchFamily="34" charset="0"/>
              <a:buNone/>
              <a:defRPr sz="2399" b="1" i="0"/>
            </a:lvl4pPr>
            <a:lvl5pPr marL="1912845" indent="0">
              <a:buFont typeface="Arial" panose="020B0604020202020204" pitchFamily="34" charset="0"/>
              <a:buNone/>
              <a:defRPr sz="2399" b="1" i="0"/>
            </a:lvl5pPr>
          </a:lstStyle>
          <a:p>
            <a:pPr lvl="0"/>
            <a:r>
              <a:rPr lang="de-DE" dirty="0"/>
              <a:t>Unterzeile: Arial 24pt </a:t>
            </a:r>
            <a:r>
              <a:rPr lang="de-DE" dirty="0" err="1"/>
              <a:t>bold</a:t>
            </a:r>
            <a:br>
              <a:rPr lang="de-DE" dirty="0"/>
            </a:br>
            <a:r>
              <a:rPr lang="de-DE" dirty="0"/>
              <a:t>(Auch zweizeilig möglich)</a:t>
            </a:r>
          </a:p>
        </p:txBody>
      </p:sp>
    </p:spTree>
    <p:extLst>
      <p:ext uri="{BB962C8B-B14F-4D97-AF65-F5344CB8AC3E}">
        <p14:creationId xmlns:p14="http://schemas.microsoft.com/office/powerpoint/2010/main" val="3217590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6">
            <a:extLst>
              <a:ext uri="{FF2B5EF4-FFF2-40B4-BE49-F238E27FC236}">
                <a16:creationId xmlns:a16="http://schemas.microsoft.com/office/drawing/2014/main" id="{24499710-2D6F-5743-B9E5-F18E3B239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57" b="21796"/>
          <a:stretch/>
        </p:blipFill>
        <p:spPr>
          <a:xfrm>
            <a:off x="-1" y="1770680"/>
            <a:ext cx="12191999" cy="4404693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41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2" name="Rechteck 1"/>
          <p:cNvSpPr/>
          <p:nvPr userDrawn="1"/>
        </p:nvSpPr>
        <p:spPr>
          <a:xfrm>
            <a:off x="0" y="6201408"/>
            <a:ext cx="12192000" cy="243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199"/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770679"/>
            <a:ext cx="12192000" cy="4558317"/>
          </a:xfr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de-DE" dirty="0"/>
          </a:p>
          <a:p>
            <a:r>
              <a:rPr lang="de-DE" dirty="0"/>
              <a:t>Fügen Sie ein frei wählbares Bild ein.</a:t>
            </a:r>
          </a:p>
        </p:txBody>
      </p:sp>
    </p:spTree>
    <p:extLst>
      <p:ext uri="{BB962C8B-B14F-4D97-AF65-F5344CB8AC3E}">
        <p14:creationId xmlns:p14="http://schemas.microsoft.com/office/powerpoint/2010/main" val="2865356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770680"/>
            <a:ext cx="12192000" cy="4404693"/>
          </a:xfr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de-DE" dirty="0"/>
          </a:p>
          <a:p>
            <a:r>
              <a:rPr lang="de-DE" dirty="0"/>
              <a:t>Fügen Sie ein frei wählbares Bild ein.</a:t>
            </a:r>
          </a:p>
        </p:txBody>
      </p:sp>
      <p:pic>
        <p:nvPicPr>
          <p:cNvPr id="10" name="Bildplatzhalter 6">
            <a:extLst>
              <a:ext uri="{FF2B5EF4-FFF2-40B4-BE49-F238E27FC236}">
                <a16:creationId xmlns:a16="http://schemas.microsoft.com/office/drawing/2014/main" id="{08EE61D7-51FA-8445-A65A-B10C193BEE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57" b="19757"/>
          <a:stretch/>
        </p:blipFill>
        <p:spPr>
          <a:xfrm>
            <a:off x="-1" y="1770680"/>
            <a:ext cx="12191999" cy="455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8382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977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8853" y="1583511"/>
            <a:ext cx="6509747" cy="4277541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 marL="1435016" indent="0">
              <a:buNone/>
              <a:defRPr sz="15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33402" y="1583512"/>
            <a:ext cx="4238625" cy="4277541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  <a:lvl2pPr marL="457173" indent="0">
              <a:buNone/>
              <a:defRPr sz="1400"/>
            </a:lvl2pPr>
            <a:lvl3pPr marL="914347" indent="0">
              <a:buNone/>
              <a:defRPr sz="1200"/>
            </a:lvl3pPr>
            <a:lvl4pPr marL="1371519" indent="0">
              <a:buNone/>
              <a:defRPr sz="1000"/>
            </a:lvl4pPr>
            <a:lvl5pPr marL="1828693" indent="0">
              <a:buNone/>
              <a:defRPr sz="1000"/>
            </a:lvl5pPr>
            <a:lvl6pPr marL="2285866" indent="0">
              <a:buNone/>
              <a:defRPr sz="1000"/>
            </a:lvl6pPr>
            <a:lvl7pPr marL="2743040" indent="0">
              <a:buNone/>
              <a:defRPr sz="1000"/>
            </a:lvl7pPr>
            <a:lvl8pPr marL="3200213" indent="0">
              <a:buNone/>
              <a:defRPr sz="1000"/>
            </a:lvl8pPr>
            <a:lvl9pPr marL="3657387" indent="0">
              <a:buNone/>
              <a:defRPr sz="1000"/>
            </a:lvl9pPr>
          </a:lstStyle>
          <a:p>
            <a:pPr lvl="0"/>
            <a:r>
              <a:rPr lang="en-US" altLang="de-DE" dirty="0"/>
              <a:t>Click to add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F47D9EC-E3C8-4173-84B3-DB5A91069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804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458554" y="624691"/>
            <a:ext cx="7295047" cy="41492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3" indent="0">
              <a:buNone/>
              <a:defRPr sz="2800"/>
            </a:lvl2pPr>
            <a:lvl3pPr marL="914347" indent="0">
              <a:buNone/>
              <a:defRPr sz="2399"/>
            </a:lvl3pPr>
            <a:lvl4pPr marL="1371519" indent="0">
              <a:buNone/>
              <a:defRPr sz="1999"/>
            </a:lvl4pPr>
            <a:lvl5pPr marL="1828693" indent="0">
              <a:buNone/>
              <a:defRPr sz="1999"/>
            </a:lvl5pPr>
            <a:lvl6pPr marL="2285866" indent="0">
              <a:buNone/>
              <a:defRPr sz="1999"/>
            </a:lvl6pPr>
            <a:lvl7pPr marL="2743040" indent="0">
              <a:buNone/>
              <a:defRPr sz="1999"/>
            </a:lvl7pPr>
            <a:lvl8pPr marL="3200213" indent="0">
              <a:buNone/>
              <a:defRPr sz="1999"/>
            </a:lvl8pPr>
            <a:lvl9pPr marL="3657387" indent="0">
              <a:buNone/>
              <a:defRPr sz="1999"/>
            </a:lvl9pPr>
          </a:lstStyle>
          <a:p>
            <a:r>
              <a:rPr lang="de-DE" dirty="0"/>
              <a:t>Bil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4D6481-F98B-45EE-B6D0-BF8C42A11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553" y="4836496"/>
            <a:ext cx="7291569" cy="56677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999"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5119134-5DDA-43C1-B0D4-2BD9056B0D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2030" y="5463729"/>
            <a:ext cx="7291569" cy="769581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173" indent="0">
              <a:buNone/>
              <a:defRPr sz="1400"/>
            </a:lvl2pPr>
            <a:lvl3pPr marL="914347" indent="0">
              <a:buNone/>
              <a:defRPr sz="1200"/>
            </a:lvl3pPr>
            <a:lvl4pPr marL="1371519" indent="0">
              <a:buNone/>
              <a:defRPr sz="1000"/>
            </a:lvl4pPr>
            <a:lvl5pPr marL="1828693" indent="0">
              <a:buNone/>
              <a:defRPr sz="1000"/>
            </a:lvl5pPr>
            <a:lvl6pPr marL="2285866" indent="0">
              <a:buNone/>
              <a:defRPr sz="1000"/>
            </a:lvl6pPr>
            <a:lvl7pPr marL="2743040" indent="0">
              <a:buNone/>
              <a:defRPr sz="1000"/>
            </a:lvl7pPr>
            <a:lvl8pPr marL="3200213" indent="0">
              <a:buNone/>
              <a:defRPr sz="1000"/>
            </a:lvl8pPr>
            <a:lvl9pPr marL="3657387" indent="0">
              <a:buNone/>
              <a:defRPr sz="1000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600002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1423972"/>
            <a:ext cx="11125200" cy="4682105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A0AF9471-6F4B-417A-9B82-1D3AC42AE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372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27183" y="365124"/>
            <a:ext cx="2628900" cy="581183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5920" y="365124"/>
            <a:ext cx="8300763" cy="5811838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2031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undlayout Ohne Inhaltsvorlage" userDrawn="1">
  <p:cSld name="Grundlayout Ohne Inhaltsvorlage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A6D038-1D63-DA37-07A5-6B4A1F5FD0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5228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A6D038-1D63-DA37-07A5-6B4A1F5FD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D59471-673C-A558-E708-C17EC4EB0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726C81-09E3-EC41-D159-55AF584003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1696EC4-B4CF-4701-AD06-A8439D6D8E1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06D4EE2-96D2-9140-F9CC-39CD1421C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8840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ildwelt-KIT-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3">
            <a:extLst>
              <a:ext uri="{FF2B5EF4-FFF2-40B4-BE49-F238E27FC236}">
                <a16:creationId xmlns:a16="http://schemas.microsoft.com/office/drawing/2014/main" id="{153A9B5E-D5F5-4943-9CE5-6CC8AD9849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11" b="18811"/>
          <a:stretch>
            <a:fillRect/>
          </a:stretch>
        </p:blipFill>
        <p:spPr>
          <a:xfrm>
            <a:off x="154800" y="3618383"/>
            <a:ext cx="11904459" cy="2707437"/>
          </a:xfrm>
          <a:prstGeom prst="round2DiagRect">
            <a:avLst>
              <a:gd name="adj1" fmla="val 0"/>
              <a:gd name="adj2" fmla="val 8317"/>
            </a:avLst>
          </a:prstGeom>
        </p:spPr>
      </p:pic>
      <p:sp>
        <p:nvSpPr>
          <p:cNvPr id="13" name="Text Box 14">
            <a:extLst>
              <a:ext uri="{FF2B5EF4-FFF2-40B4-BE49-F238E27FC236}">
                <a16:creationId xmlns:a16="http://schemas.microsoft.com/office/drawing/2014/main" id="{6C188393-F356-4F5D-80C7-5DAA7302C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7834" y="6432821"/>
            <a:ext cx="2302933" cy="32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altLang="de-DE" sz="2133" b="1" dirty="0">
                <a:solidFill>
                  <a:schemeClr val="tx1"/>
                </a:solidFill>
              </a:rPr>
              <a:t>www.kit.edu</a:t>
            </a:r>
          </a:p>
        </p:txBody>
      </p:sp>
      <p:sp>
        <p:nvSpPr>
          <p:cNvPr id="17" name="Text Box 14">
            <a:extLst>
              <a:ext uri="{FF2B5EF4-FFF2-40B4-BE49-F238E27FC236}">
                <a16:creationId xmlns:a16="http://schemas.microsoft.com/office/drawing/2014/main" id="{537A5579-09BA-4663-B67D-33B1542057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59662" y="6525687"/>
            <a:ext cx="48088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de-DE" sz="1100" noProof="0" dirty="0"/>
              <a:t>KIT – Die Forschungsuniversität in der Helmholtz-Gemeinschaft</a:t>
            </a:r>
            <a:endParaRPr lang="en-US" sz="1100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486A875-9103-4865-A4A2-F6DFEEEA2E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01" y="479852"/>
            <a:ext cx="2177903" cy="1002890"/>
          </a:xfrm>
          <a:prstGeom prst="rect">
            <a:avLst/>
          </a:prstGeom>
        </p:spPr>
      </p:pic>
      <p:sp>
        <p:nvSpPr>
          <p:cNvPr id="16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87258" y="1927266"/>
            <a:ext cx="11366076" cy="38003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 b="1"/>
            </a:lvl1pPr>
            <a:lvl2pPr marL="473979" indent="0">
              <a:buFont typeface="Arial" panose="020B0604020202020204" pitchFamily="34" charset="0"/>
              <a:buNone/>
              <a:defRPr sz="3466" b="1"/>
            </a:lvl2pPr>
            <a:lvl3pPr marL="956422" indent="0">
              <a:buFont typeface="Arial" panose="020B0604020202020204" pitchFamily="34" charset="0"/>
              <a:buNone/>
              <a:defRPr sz="3466" b="1"/>
            </a:lvl3pPr>
            <a:lvl4pPr marL="1430402" indent="0">
              <a:buFont typeface="Arial" panose="020B0604020202020204" pitchFamily="34" charset="0"/>
              <a:buNone/>
              <a:defRPr sz="3466" b="1"/>
            </a:lvl4pPr>
            <a:lvl5pPr marL="1912845" indent="0">
              <a:buFont typeface="Arial" panose="020B0604020202020204" pitchFamily="34" charset="0"/>
              <a:buNone/>
              <a:defRPr sz="3466" b="1"/>
            </a:lvl5pPr>
          </a:lstStyle>
          <a:p>
            <a:pPr lvl="0"/>
            <a:r>
              <a:rPr lang="de-DE" dirty="0"/>
              <a:t>Folientitel: Arial 34pt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507567" y="2639093"/>
            <a:ext cx="11354233" cy="679663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399" b="1" i="0" baseline="0"/>
            </a:lvl1pPr>
            <a:lvl2pPr marL="473979" indent="0">
              <a:buFont typeface="Arial" panose="020B0604020202020204" pitchFamily="34" charset="0"/>
              <a:buNone/>
              <a:defRPr sz="2399" b="1" i="0"/>
            </a:lvl2pPr>
            <a:lvl3pPr marL="956422" indent="0">
              <a:buFont typeface="Arial" panose="020B0604020202020204" pitchFamily="34" charset="0"/>
              <a:buNone/>
              <a:defRPr sz="2399" b="1" i="0"/>
            </a:lvl3pPr>
            <a:lvl4pPr marL="1430402" indent="0">
              <a:buFont typeface="Arial" panose="020B0604020202020204" pitchFamily="34" charset="0"/>
              <a:buNone/>
              <a:defRPr sz="2399" b="1" i="0"/>
            </a:lvl4pPr>
            <a:lvl5pPr marL="1912845" indent="0">
              <a:buFont typeface="Arial" panose="020B0604020202020204" pitchFamily="34" charset="0"/>
              <a:buNone/>
              <a:defRPr sz="2399" b="1" i="0"/>
            </a:lvl5pPr>
          </a:lstStyle>
          <a:p>
            <a:pPr lvl="0"/>
            <a:r>
              <a:rPr lang="de-DE" dirty="0"/>
              <a:t>Unterzeile: Arial 24pt </a:t>
            </a:r>
            <a:r>
              <a:rPr lang="de-DE" dirty="0" err="1"/>
              <a:t>bold</a:t>
            </a:r>
            <a:br>
              <a:rPr lang="de-DE" dirty="0"/>
            </a:br>
            <a:r>
              <a:rPr lang="de-DE" dirty="0"/>
              <a:t>(Auch zweizeilig möglich)</a:t>
            </a:r>
          </a:p>
        </p:txBody>
      </p:sp>
    </p:spTree>
    <p:extLst>
      <p:ext uri="{BB962C8B-B14F-4D97-AF65-F5344CB8AC3E}">
        <p14:creationId xmlns:p14="http://schemas.microsoft.com/office/powerpoint/2010/main" val="1343720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83512"/>
            <a:ext cx="11125200" cy="448647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sz="2100"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696EC4-B4CF-4701-AD06-A8439D6D8E12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40BE303-A4F2-4BCB-AF82-DC9DDFB7C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352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583512"/>
            <a:ext cx="5486400" cy="45934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583512"/>
            <a:ext cx="5486399" cy="45934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862948F-D5FC-499A-8B74-0B5A4CF72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915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6207759" y="1584471"/>
            <a:ext cx="5467775" cy="4611218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 dirty="0"/>
              <a:t>Fügen Sie auf der Masterfolie ein frei wählbares Bild ein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583512"/>
            <a:ext cx="5486400" cy="45934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862948F-D5FC-499A-8B74-0B5A4CF72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459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83512"/>
            <a:ext cx="5464176" cy="82391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173" indent="0">
              <a:buNone/>
              <a:defRPr sz="1999" b="1"/>
            </a:lvl2pPr>
            <a:lvl3pPr marL="914347" indent="0">
              <a:buNone/>
              <a:defRPr sz="1799" b="1"/>
            </a:lvl3pPr>
            <a:lvl4pPr marL="1371519" indent="0">
              <a:buNone/>
              <a:defRPr sz="1599" b="1"/>
            </a:lvl4pPr>
            <a:lvl5pPr marL="1828693" indent="0">
              <a:buNone/>
              <a:defRPr sz="1599" b="1"/>
            </a:lvl5pPr>
            <a:lvl6pPr marL="2285866" indent="0">
              <a:buNone/>
              <a:defRPr sz="1599" b="1"/>
            </a:lvl6pPr>
            <a:lvl7pPr marL="2743040" indent="0">
              <a:buNone/>
              <a:defRPr sz="1599" b="1"/>
            </a:lvl7pPr>
            <a:lvl8pPr marL="3200213" indent="0">
              <a:buNone/>
              <a:defRPr sz="1599" b="1"/>
            </a:lvl8pPr>
            <a:lvl9pPr marL="3657387" indent="0">
              <a:buNone/>
              <a:defRPr sz="1599" b="1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400" y="2582458"/>
            <a:ext cx="5464176" cy="360720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424" y="1583512"/>
            <a:ext cx="5464176" cy="82391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173" indent="0">
              <a:buNone/>
              <a:defRPr sz="1999" b="1"/>
            </a:lvl2pPr>
            <a:lvl3pPr marL="914347" indent="0">
              <a:buNone/>
              <a:defRPr sz="1799" b="1"/>
            </a:lvl3pPr>
            <a:lvl4pPr marL="1371519" indent="0">
              <a:buNone/>
              <a:defRPr sz="1599" b="1"/>
            </a:lvl4pPr>
            <a:lvl5pPr marL="1828693" indent="0">
              <a:buNone/>
              <a:defRPr sz="1599" b="1"/>
            </a:lvl5pPr>
            <a:lvl6pPr marL="2285866" indent="0">
              <a:buNone/>
              <a:defRPr sz="1599" b="1"/>
            </a:lvl6pPr>
            <a:lvl7pPr marL="2743040" indent="0">
              <a:buNone/>
              <a:defRPr sz="1599" b="1"/>
            </a:lvl7pPr>
            <a:lvl8pPr marL="3200213" indent="0">
              <a:buNone/>
              <a:defRPr sz="1599" b="1"/>
            </a:lvl8pPr>
            <a:lvl9pPr marL="3657387" indent="0">
              <a:buNone/>
              <a:defRPr sz="1599" b="1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424" y="2582458"/>
            <a:ext cx="5464176" cy="360720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E438375-C357-462F-AB62-257249F8E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943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6207759" y="2590003"/>
            <a:ext cx="5467775" cy="3605685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 dirty="0"/>
              <a:t>Fügen Sie auf der Masterfolie ein frei wählbares Bild ein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583512"/>
            <a:ext cx="5464176" cy="82391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173" indent="0">
              <a:buNone/>
              <a:defRPr sz="1999" b="1"/>
            </a:lvl2pPr>
            <a:lvl3pPr marL="914347" indent="0">
              <a:buNone/>
              <a:defRPr sz="1799" b="1"/>
            </a:lvl3pPr>
            <a:lvl4pPr marL="1371519" indent="0">
              <a:buNone/>
              <a:defRPr sz="1599" b="1"/>
            </a:lvl4pPr>
            <a:lvl5pPr marL="1828693" indent="0">
              <a:buNone/>
              <a:defRPr sz="1599" b="1"/>
            </a:lvl5pPr>
            <a:lvl6pPr marL="2285866" indent="0">
              <a:buNone/>
              <a:defRPr sz="1599" b="1"/>
            </a:lvl6pPr>
            <a:lvl7pPr marL="2743040" indent="0">
              <a:buNone/>
              <a:defRPr sz="1599" b="1"/>
            </a:lvl7pPr>
            <a:lvl8pPr marL="3200213" indent="0">
              <a:buNone/>
              <a:defRPr sz="1599" b="1"/>
            </a:lvl8pPr>
            <a:lvl9pPr marL="3657387" indent="0">
              <a:buNone/>
              <a:defRPr sz="1599" b="1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400" y="2582458"/>
            <a:ext cx="5464176" cy="360720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424" y="1583512"/>
            <a:ext cx="5464176" cy="823912"/>
          </a:xfrm>
        </p:spPr>
        <p:txBody>
          <a:bodyPr anchor="b">
            <a:normAutofit/>
          </a:bodyPr>
          <a:lstStyle>
            <a:lvl1pPr marL="0" indent="0">
              <a:buNone/>
              <a:defRPr sz="2600" b="1"/>
            </a:lvl1pPr>
            <a:lvl2pPr marL="457173" indent="0">
              <a:buNone/>
              <a:defRPr sz="1999" b="1"/>
            </a:lvl2pPr>
            <a:lvl3pPr marL="914347" indent="0">
              <a:buNone/>
              <a:defRPr sz="1799" b="1"/>
            </a:lvl3pPr>
            <a:lvl4pPr marL="1371519" indent="0">
              <a:buNone/>
              <a:defRPr sz="1599" b="1"/>
            </a:lvl4pPr>
            <a:lvl5pPr marL="1828693" indent="0">
              <a:buNone/>
              <a:defRPr sz="1599" b="1"/>
            </a:lvl5pPr>
            <a:lvl6pPr marL="2285866" indent="0">
              <a:buNone/>
              <a:defRPr sz="1599" b="1"/>
            </a:lvl6pPr>
            <a:lvl7pPr marL="2743040" indent="0">
              <a:buNone/>
              <a:defRPr sz="1599" b="1"/>
            </a:lvl7pPr>
            <a:lvl8pPr marL="3200213" indent="0">
              <a:buNone/>
              <a:defRPr sz="1599" b="1"/>
            </a:lvl8pPr>
            <a:lvl9pPr marL="3657387" indent="0">
              <a:buNone/>
              <a:defRPr sz="1599" b="1"/>
            </a:lvl9pPr>
          </a:lstStyle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E438375-C357-462F-AB62-257249F8E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589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224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96EC4-B4CF-4701-AD06-A8439D6D8E12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0E8322-A2A9-45EC-9F17-A3F73D42D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/>
            </a:lvl1pPr>
          </a:lstStyle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14"/>
          </p:nvPr>
        </p:nvSpPr>
        <p:spPr>
          <a:xfrm>
            <a:off x="0" y="1770680"/>
            <a:ext cx="12192000" cy="4404693"/>
          </a:xfr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de-DE" dirty="0"/>
          </a:p>
          <a:p>
            <a:r>
              <a:rPr lang="de-DE" dirty="0"/>
              <a:t>Fügen Sie ein frei wählbares Bild ein.</a:t>
            </a:r>
          </a:p>
        </p:txBody>
      </p:sp>
    </p:spTree>
    <p:extLst>
      <p:ext uri="{BB962C8B-B14F-4D97-AF65-F5344CB8AC3E}">
        <p14:creationId xmlns:p14="http://schemas.microsoft.com/office/powerpoint/2010/main" val="409888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972156-DD06-3EBD-E8DC-2D45A7AD5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947924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972156-DD06-3EBD-E8DC-2D45A7AD5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394871"/>
            <a:ext cx="9158904" cy="76774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8001" y="1582633"/>
            <a:ext cx="11135999" cy="45234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altLang="de-DE" dirty="0"/>
              <a:t>Karlsruher Institut für Technologie (KIT)</a:t>
            </a:r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6313" y="6329811"/>
            <a:ext cx="1370340" cy="5281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1200" smtClean="0"/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8000" y="6329811"/>
            <a:ext cx="435157" cy="5281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fld id="{61696EC4-B4CF-4701-AD06-A8439D6D8E1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4D87B36-D57F-487F-9086-156B2F77E750}"/>
              </a:ext>
            </a:extLst>
          </p:cNvPr>
          <p:cNvSpPr txBox="1">
            <a:spLocks/>
          </p:cNvSpPr>
          <p:nvPr/>
        </p:nvSpPr>
        <p:spPr>
          <a:xfrm>
            <a:off x="2267108" y="6329811"/>
            <a:ext cx="4908393" cy="5281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Vorname Name - Präsentationstitel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E6A56DB-B5EE-4225-952A-4A1FEE4F4716}"/>
              </a:ext>
            </a:extLst>
          </p:cNvPr>
          <p:cNvSpPr txBox="1">
            <a:spLocks/>
          </p:cNvSpPr>
          <p:nvPr userDrawn="1"/>
        </p:nvSpPr>
        <p:spPr>
          <a:xfrm>
            <a:off x="7340601" y="6319881"/>
            <a:ext cx="4326737" cy="53811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de-DE" sz="1200" dirty="0" err="1"/>
              <a:t>Bereich</a:t>
            </a:r>
            <a:r>
              <a:rPr lang="en-US" altLang="de-DE" sz="1200" dirty="0"/>
              <a:t>, </a:t>
            </a:r>
            <a:r>
              <a:rPr lang="en-US" altLang="de-DE" sz="1200" dirty="0" err="1"/>
              <a:t>Institut</a:t>
            </a:r>
            <a:r>
              <a:rPr lang="en-US" altLang="de-DE" sz="1200" dirty="0"/>
              <a:t>, DE/</a:t>
            </a:r>
            <a:r>
              <a:rPr lang="en-US" altLang="de-DE" sz="1200" dirty="0" err="1"/>
              <a:t>Stabsstelle</a:t>
            </a:r>
            <a:endParaRPr lang="en-US" altLang="de-DE" sz="12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B978990-F548-4DBF-8142-A24718BD92B6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5612" y="441464"/>
            <a:ext cx="1448387" cy="666959"/>
          </a:xfrm>
          <a:prstGeom prst="rect">
            <a:avLst/>
          </a:prstGeom>
        </p:spPr>
      </p:pic>
      <p:cxnSp>
        <p:nvCxnSpPr>
          <p:cNvPr id="12" name="Gerade Verbindung 11"/>
          <p:cNvCxnSpPr/>
          <p:nvPr userDrawn="1"/>
        </p:nvCxnSpPr>
        <p:spPr>
          <a:xfrm>
            <a:off x="143930" y="6319881"/>
            <a:ext cx="11904143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407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hf sldNum="0" hdr="0" dt="0"/>
  <p:txStyles>
    <p:titleStyle>
      <a:lvl1pPr algn="l" defTabSz="914347" rtl="0" eaLnBrk="1" latinLnBrk="0" hangingPunct="1">
        <a:lnSpc>
          <a:spcPct val="90000"/>
        </a:lnSpc>
        <a:spcBef>
          <a:spcPct val="0"/>
        </a:spcBef>
        <a:buNone/>
        <a:defRPr lang="en-US" sz="3199" b="1" kern="1200" dirty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71448" indent="-271448" algn="l" defTabSz="914347" rtl="0" eaLnBrk="1" latinLnBrk="0" hangingPunct="1">
        <a:lnSpc>
          <a:spcPct val="90000"/>
        </a:lnSpc>
        <a:spcBef>
          <a:spcPts val="480"/>
        </a:spcBef>
        <a:buSzPct val="88000"/>
        <a:buFontTx/>
        <a:buBlip>
          <a:blip r:embed="rId24"/>
        </a:buBlip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27" indent="-271448" algn="l" defTabSz="914347" rtl="0" eaLnBrk="1" latinLnBrk="0" hangingPunct="1">
        <a:lnSpc>
          <a:spcPct val="90000"/>
        </a:lnSpc>
        <a:spcBef>
          <a:spcPts val="480"/>
        </a:spcBef>
        <a:buSzPct val="88000"/>
        <a:buFontTx/>
        <a:buBlip>
          <a:blip r:embed="rId24"/>
        </a:buBlip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982606" indent="-265098" algn="l" defTabSz="898472" rtl="0" eaLnBrk="1" latinLnBrk="0" hangingPunct="1">
        <a:lnSpc>
          <a:spcPct val="90000"/>
        </a:lnSpc>
        <a:spcBef>
          <a:spcPts val="480"/>
        </a:spcBef>
        <a:buSzPct val="88000"/>
        <a:buFontTx/>
        <a:buBlip>
          <a:blip r:embed="rId24"/>
        </a:buBlip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535" indent="-271448" algn="l" defTabSz="914347" rtl="0" eaLnBrk="1" latinLnBrk="0" hangingPunct="1">
        <a:lnSpc>
          <a:spcPct val="90000"/>
        </a:lnSpc>
        <a:spcBef>
          <a:spcPts val="480"/>
        </a:spcBef>
        <a:buSzPct val="88000"/>
        <a:buFontTx/>
        <a:buBlip>
          <a:blip r:embed="rId24"/>
        </a:buBlip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700114" indent="-265098" algn="l" defTabSz="914347" rtl="0" eaLnBrk="1" latinLnBrk="0" hangingPunct="1">
        <a:lnSpc>
          <a:spcPct val="90000"/>
        </a:lnSpc>
        <a:spcBef>
          <a:spcPts val="480"/>
        </a:spcBef>
        <a:buSzPct val="88000"/>
        <a:buFontTx/>
        <a:buBlip>
          <a:blip r:embed="rId24"/>
        </a:buBlip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3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6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0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3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47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6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0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7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2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07_859BAE7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>
            <a:extLst>
              <a:ext uri="{FF2B5EF4-FFF2-40B4-BE49-F238E27FC236}">
                <a16:creationId xmlns:a16="http://schemas.microsoft.com/office/drawing/2014/main" id="{DCFD88FD-ACEB-43E8-AA65-1FE55F17BF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54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9" name="Objekt 48" hidden="1">
                        <a:extLst>
                          <a:ext uri="{FF2B5EF4-FFF2-40B4-BE49-F238E27FC236}">
                            <a16:creationId xmlns:a16="http://schemas.microsoft.com/office/drawing/2014/main" id="{DCFD88FD-ACEB-43E8-AA65-1FE55F17BF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C113AF2-0569-43FB-BD50-948605629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7" y="429911"/>
            <a:ext cx="11510501" cy="756962"/>
          </a:xfrm>
        </p:spPr>
        <p:txBody>
          <a:bodyPr vert="horz"/>
          <a:lstStyle/>
          <a:p>
            <a:r>
              <a:rPr lang="en-GB" sz="2400" dirty="0" err="1">
                <a:cs typeface="Arial"/>
              </a:rPr>
              <a:t>Erforschen</a:t>
            </a:r>
            <a:r>
              <a:rPr lang="en-GB" sz="2400" dirty="0">
                <a:cs typeface="Arial"/>
              </a:rPr>
              <a:t>, </a:t>
            </a:r>
            <a:r>
              <a:rPr lang="en-GB" sz="2400" dirty="0" err="1">
                <a:cs typeface="Arial"/>
              </a:rPr>
              <a:t>Analysieren</a:t>
            </a:r>
            <a:r>
              <a:rPr lang="en-GB" sz="2400" dirty="0">
                <a:cs typeface="Arial"/>
              </a:rPr>
              <a:t>, </a:t>
            </a:r>
            <a:r>
              <a:rPr lang="en-GB" sz="2400" dirty="0" err="1">
                <a:cs typeface="Arial"/>
              </a:rPr>
              <a:t>Optimieren</a:t>
            </a:r>
            <a:r>
              <a:rPr lang="en-GB" sz="2400" dirty="0">
                <a:cs typeface="Arial"/>
              </a:rPr>
              <a:t>: </a:t>
            </a:r>
            <a:br>
              <a:rPr lang="en-GB" sz="2400" dirty="0">
                <a:cs typeface="Arial"/>
              </a:rPr>
            </a:br>
            <a:r>
              <a:rPr lang="en-GB" sz="2400" dirty="0">
                <a:cs typeface="Arial"/>
              </a:rPr>
              <a:t>Ein </a:t>
            </a:r>
            <a:r>
              <a:rPr lang="en-GB" sz="2400" dirty="0" err="1">
                <a:cs typeface="Arial"/>
              </a:rPr>
              <a:t>dreiteiliges</a:t>
            </a:r>
            <a:r>
              <a:rPr lang="en-GB" sz="2400" dirty="0">
                <a:cs typeface="Arial"/>
              </a:rPr>
              <a:t> </a:t>
            </a:r>
            <a:r>
              <a:rPr lang="en-GB" sz="2400" dirty="0" err="1">
                <a:cs typeface="Arial"/>
              </a:rPr>
              <a:t>Projekt</a:t>
            </a:r>
            <a:r>
              <a:rPr lang="en-GB" sz="2400" dirty="0">
                <a:cs typeface="Arial"/>
              </a:rPr>
              <a:t> </a:t>
            </a:r>
            <a:r>
              <a:rPr lang="en-GB" sz="2400" dirty="0" err="1">
                <a:cs typeface="Arial"/>
              </a:rPr>
              <a:t>zur</a:t>
            </a:r>
            <a:r>
              <a:rPr lang="en-GB" sz="2400" dirty="0">
                <a:cs typeface="Arial"/>
              </a:rPr>
              <a:t> </a:t>
            </a:r>
            <a:r>
              <a:rPr lang="en-GB" sz="2400" dirty="0" err="1">
                <a:cs typeface="Arial"/>
              </a:rPr>
              <a:t>Zahnradanalyse</a:t>
            </a:r>
            <a:endParaRPr lang="de-DE" sz="2400" dirty="0">
              <a:cs typeface="Arial"/>
            </a:endParaRPr>
          </a:p>
        </p:txBody>
      </p:sp>
      <p:sp>
        <p:nvSpPr>
          <p:cNvPr id="3" name="Freeform 18">
            <a:extLst>
              <a:ext uri="{FF2B5EF4-FFF2-40B4-BE49-F238E27FC236}">
                <a16:creationId xmlns:a16="http://schemas.microsoft.com/office/drawing/2014/main" id="{567CF6A3-4699-4DD7-9F22-1613D94F32CD}"/>
              </a:ext>
            </a:extLst>
          </p:cNvPr>
          <p:cNvSpPr/>
          <p:nvPr/>
        </p:nvSpPr>
        <p:spPr>
          <a:xfrm>
            <a:off x="1559406" y="1564482"/>
            <a:ext cx="2809707" cy="2017068"/>
          </a:xfrm>
          <a:custGeom>
            <a:avLst/>
            <a:gdLst>
              <a:gd name="connsiteX0" fmla="*/ 1440000 w 2880000"/>
              <a:gd name="connsiteY0" fmla="*/ 0 h 2067531"/>
              <a:gd name="connsiteX1" fmla="*/ 2880000 w 2880000"/>
              <a:gd name="connsiteY1" fmla="*/ 1440000 h 2067531"/>
              <a:gd name="connsiteX2" fmla="*/ 2850744 w 2880000"/>
              <a:gd name="connsiteY2" fmla="*/ 1730210 h 2067531"/>
              <a:gd name="connsiteX3" fmla="*/ 2847285 w 2880000"/>
              <a:gd name="connsiteY3" fmla="*/ 1743664 h 2067531"/>
              <a:gd name="connsiteX4" fmla="*/ 2711369 w 2880000"/>
              <a:gd name="connsiteY4" fmla="*/ 1708716 h 2067531"/>
              <a:gd name="connsiteX5" fmla="*/ 2421159 w 2880000"/>
              <a:gd name="connsiteY5" fmla="*/ 1679460 h 2067531"/>
              <a:gd name="connsiteX6" fmla="*/ 1505185 w 2880000"/>
              <a:gd name="connsiteY6" fmla="*/ 2008286 h 2067531"/>
              <a:gd name="connsiteX7" fmla="*/ 1439999 w 2880000"/>
              <a:gd name="connsiteY7" fmla="*/ 2067531 h 2067531"/>
              <a:gd name="connsiteX8" fmla="*/ 1374813 w 2880000"/>
              <a:gd name="connsiteY8" fmla="*/ 2008286 h 2067531"/>
              <a:gd name="connsiteX9" fmla="*/ 458839 w 2880000"/>
              <a:gd name="connsiteY9" fmla="*/ 1679460 h 2067531"/>
              <a:gd name="connsiteX10" fmla="*/ 168629 w 2880000"/>
              <a:gd name="connsiteY10" fmla="*/ 1708716 h 2067531"/>
              <a:gd name="connsiteX11" fmla="*/ 32715 w 2880000"/>
              <a:gd name="connsiteY11" fmla="*/ 1743663 h 2067531"/>
              <a:gd name="connsiteX12" fmla="*/ 29256 w 2880000"/>
              <a:gd name="connsiteY12" fmla="*/ 1730210 h 2067531"/>
              <a:gd name="connsiteX13" fmla="*/ 0 w 2880000"/>
              <a:gd name="connsiteY13" fmla="*/ 1440000 h 2067531"/>
              <a:gd name="connsiteX14" fmla="*/ 1440000 w 2880000"/>
              <a:gd name="connsiteY14" fmla="*/ 0 h 206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80000" h="2067531">
                <a:moveTo>
                  <a:pt x="1440000" y="0"/>
                </a:moveTo>
                <a:cubicBezTo>
                  <a:pt x="2235290" y="0"/>
                  <a:pt x="2880000" y="644710"/>
                  <a:pt x="2880000" y="1440000"/>
                </a:cubicBezTo>
                <a:cubicBezTo>
                  <a:pt x="2880000" y="1539411"/>
                  <a:pt x="2869927" y="1636470"/>
                  <a:pt x="2850744" y="1730210"/>
                </a:cubicBezTo>
                <a:lnTo>
                  <a:pt x="2847285" y="1743664"/>
                </a:lnTo>
                <a:lnTo>
                  <a:pt x="2711369" y="1708716"/>
                </a:lnTo>
                <a:cubicBezTo>
                  <a:pt x="2617629" y="1689534"/>
                  <a:pt x="2520570" y="1679460"/>
                  <a:pt x="2421159" y="1679460"/>
                </a:cubicBezTo>
                <a:cubicBezTo>
                  <a:pt x="2073220" y="1679460"/>
                  <a:pt x="1754102" y="1802862"/>
                  <a:pt x="1505185" y="2008286"/>
                </a:cubicBezTo>
                <a:lnTo>
                  <a:pt x="1439999" y="2067531"/>
                </a:lnTo>
                <a:lnTo>
                  <a:pt x="1374813" y="2008286"/>
                </a:lnTo>
                <a:cubicBezTo>
                  <a:pt x="1125896" y="1802862"/>
                  <a:pt x="806778" y="1679460"/>
                  <a:pt x="458839" y="1679460"/>
                </a:cubicBezTo>
                <a:cubicBezTo>
                  <a:pt x="359428" y="1679460"/>
                  <a:pt x="262369" y="1689534"/>
                  <a:pt x="168629" y="1708716"/>
                </a:cubicBezTo>
                <a:lnTo>
                  <a:pt x="32715" y="1743663"/>
                </a:lnTo>
                <a:lnTo>
                  <a:pt x="29256" y="1730210"/>
                </a:lnTo>
                <a:cubicBezTo>
                  <a:pt x="10073" y="1636470"/>
                  <a:pt x="0" y="1539411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reeform 17">
            <a:extLst>
              <a:ext uri="{FF2B5EF4-FFF2-40B4-BE49-F238E27FC236}">
                <a16:creationId xmlns:a16="http://schemas.microsoft.com/office/drawing/2014/main" id="{2618FDE9-EAF0-49E1-A99C-7095B0F6B930}"/>
              </a:ext>
            </a:extLst>
          </p:cNvPr>
          <p:cNvSpPr/>
          <p:nvPr/>
        </p:nvSpPr>
        <p:spPr>
          <a:xfrm>
            <a:off x="602193" y="3265587"/>
            <a:ext cx="2362066" cy="2747070"/>
          </a:xfrm>
          <a:custGeom>
            <a:avLst/>
            <a:gdLst>
              <a:gd name="connsiteX0" fmla="*/ 1013876 w 2421160"/>
              <a:gd name="connsiteY0" fmla="*/ 0 h 2815797"/>
              <a:gd name="connsiteX1" fmla="*/ 1045901 w 2421160"/>
              <a:gd name="connsiteY1" fmla="*/ 124549 h 2815797"/>
              <a:gd name="connsiteX2" fmla="*/ 1992949 w 2421160"/>
              <a:gd name="connsiteY2" fmla="*/ 1071597 h 2815797"/>
              <a:gd name="connsiteX3" fmla="*/ 1995035 w 2421160"/>
              <a:gd name="connsiteY3" fmla="*/ 1072134 h 2815797"/>
              <a:gd name="connsiteX4" fmla="*/ 1991576 w 2421160"/>
              <a:gd name="connsiteY4" fmla="*/ 1085587 h 2815797"/>
              <a:gd name="connsiteX5" fmla="*/ 1962320 w 2421160"/>
              <a:gd name="connsiteY5" fmla="*/ 1375797 h 2815797"/>
              <a:gd name="connsiteX6" fmla="*/ 2384086 w 2421160"/>
              <a:gd name="connsiteY6" fmla="*/ 2394031 h 2815797"/>
              <a:gd name="connsiteX7" fmla="*/ 2421160 w 2421160"/>
              <a:gd name="connsiteY7" fmla="*/ 2427726 h 2815797"/>
              <a:gd name="connsiteX8" fmla="*/ 2355974 w 2421160"/>
              <a:gd name="connsiteY8" fmla="*/ 2486971 h 2815797"/>
              <a:gd name="connsiteX9" fmla="*/ 1440000 w 2421160"/>
              <a:gd name="connsiteY9" fmla="*/ 2815797 h 2815797"/>
              <a:gd name="connsiteX10" fmla="*/ 0 w 2421160"/>
              <a:gd name="connsiteY10" fmla="*/ 1375797 h 2815797"/>
              <a:gd name="connsiteX11" fmla="*/ 1011788 w 2421160"/>
              <a:gd name="connsiteY11" fmla="*/ 537 h 2815797"/>
              <a:gd name="connsiteX12" fmla="*/ 1013876 w 2421160"/>
              <a:gd name="connsiteY12" fmla="*/ 0 h 281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1160" h="2815797">
                <a:moveTo>
                  <a:pt x="1013876" y="0"/>
                </a:moveTo>
                <a:lnTo>
                  <a:pt x="1045901" y="124549"/>
                </a:lnTo>
                <a:cubicBezTo>
                  <a:pt x="1186147" y="575456"/>
                  <a:pt x="1542042" y="931351"/>
                  <a:pt x="1992949" y="1071597"/>
                </a:cubicBezTo>
                <a:lnTo>
                  <a:pt x="1995035" y="1072134"/>
                </a:lnTo>
                <a:lnTo>
                  <a:pt x="1991576" y="1085587"/>
                </a:lnTo>
                <a:cubicBezTo>
                  <a:pt x="1972394" y="1179328"/>
                  <a:pt x="1962320" y="1276386"/>
                  <a:pt x="1962320" y="1375797"/>
                </a:cubicBezTo>
                <a:cubicBezTo>
                  <a:pt x="1962320" y="1773442"/>
                  <a:pt x="2123498" y="2133442"/>
                  <a:pt x="2384086" y="2394031"/>
                </a:cubicBezTo>
                <a:lnTo>
                  <a:pt x="2421160" y="2427726"/>
                </a:lnTo>
                <a:lnTo>
                  <a:pt x="2355974" y="2486971"/>
                </a:lnTo>
                <a:cubicBezTo>
                  <a:pt x="2107057" y="2692396"/>
                  <a:pt x="1787939" y="2815797"/>
                  <a:pt x="1440000" y="2815797"/>
                </a:cubicBezTo>
                <a:cubicBezTo>
                  <a:pt x="644710" y="2815797"/>
                  <a:pt x="0" y="2171087"/>
                  <a:pt x="0" y="1375797"/>
                </a:cubicBezTo>
                <a:cubicBezTo>
                  <a:pt x="0" y="729624"/>
                  <a:pt x="425609" y="182857"/>
                  <a:pt x="1011788" y="537"/>
                </a:cubicBezTo>
                <a:lnTo>
                  <a:pt x="1013876" y="0"/>
                </a:ln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reeform 16">
            <a:extLst>
              <a:ext uri="{FF2B5EF4-FFF2-40B4-BE49-F238E27FC236}">
                <a16:creationId xmlns:a16="http://schemas.microsoft.com/office/drawing/2014/main" id="{15D1945E-0B84-4730-9EE0-641A28AA4C12}"/>
              </a:ext>
            </a:extLst>
          </p:cNvPr>
          <p:cNvSpPr/>
          <p:nvPr/>
        </p:nvSpPr>
        <p:spPr>
          <a:xfrm>
            <a:off x="2964259" y="3265587"/>
            <a:ext cx="2362066" cy="2747070"/>
          </a:xfrm>
          <a:custGeom>
            <a:avLst/>
            <a:gdLst>
              <a:gd name="connsiteX0" fmla="*/ 1407286 w 2421160"/>
              <a:gd name="connsiteY0" fmla="*/ 0 h 2815796"/>
              <a:gd name="connsiteX1" fmla="*/ 1409372 w 2421160"/>
              <a:gd name="connsiteY1" fmla="*/ 536 h 2815796"/>
              <a:gd name="connsiteX2" fmla="*/ 2421160 w 2421160"/>
              <a:gd name="connsiteY2" fmla="*/ 1375796 h 2815796"/>
              <a:gd name="connsiteX3" fmla="*/ 981160 w 2421160"/>
              <a:gd name="connsiteY3" fmla="*/ 2815796 h 2815796"/>
              <a:gd name="connsiteX4" fmla="*/ 65186 w 2421160"/>
              <a:gd name="connsiteY4" fmla="*/ 2486970 h 2815796"/>
              <a:gd name="connsiteX5" fmla="*/ 0 w 2421160"/>
              <a:gd name="connsiteY5" fmla="*/ 2427725 h 2815796"/>
              <a:gd name="connsiteX6" fmla="*/ 37074 w 2421160"/>
              <a:gd name="connsiteY6" fmla="*/ 2394030 h 2815796"/>
              <a:gd name="connsiteX7" fmla="*/ 458840 w 2421160"/>
              <a:gd name="connsiteY7" fmla="*/ 1375796 h 2815796"/>
              <a:gd name="connsiteX8" fmla="*/ 429584 w 2421160"/>
              <a:gd name="connsiteY8" fmla="*/ 1085586 h 2815796"/>
              <a:gd name="connsiteX9" fmla="*/ 426125 w 2421160"/>
              <a:gd name="connsiteY9" fmla="*/ 1072133 h 2815796"/>
              <a:gd name="connsiteX10" fmla="*/ 428213 w 2421160"/>
              <a:gd name="connsiteY10" fmla="*/ 1071596 h 2815796"/>
              <a:gd name="connsiteX11" fmla="*/ 1375261 w 2421160"/>
              <a:gd name="connsiteY11" fmla="*/ 124548 h 2815796"/>
              <a:gd name="connsiteX12" fmla="*/ 1407286 w 2421160"/>
              <a:gd name="connsiteY12" fmla="*/ 0 h 281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21160" h="2815796">
                <a:moveTo>
                  <a:pt x="1407286" y="0"/>
                </a:moveTo>
                <a:lnTo>
                  <a:pt x="1409372" y="536"/>
                </a:lnTo>
                <a:cubicBezTo>
                  <a:pt x="1995551" y="182856"/>
                  <a:pt x="2421160" y="729623"/>
                  <a:pt x="2421160" y="1375796"/>
                </a:cubicBezTo>
                <a:cubicBezTo>
                  <a:pt x="2421160" y="2171086"/>
                  <a:pt x="1776450" y="2815796"/>
                  <a:pt x="981160" y="2815796"/>
                </a:cubicBezTo>
                <a:cubicBezTo>
                  <a:pt x="633221" y="2815796"/>
                  <a:pt x="314103" y="2692395"/>
                  <a:pt x="65186" y="2486970"/>
                </a:cubicBezTo>
                <a:lnTo>
                  <a:pt x="0" y="2427725"/>
                </a:lnTo>
                <a:lnTo>
                  <a:pt x="37074" y="2394030"/>
                </a:lnTo>
                <a:cubicBezTo>
                  <a:pt x="297663" y="2133441"/>
                  <a:pt x="458840" y="1773441"/>
                  <a:pt x="458840" y="1375796"/>
                </a:cubicBezTo>
                <a:cubicBezTo>
                  <a:pt x="458840" y="1276385"/>
                  <a:pt x="448767" y="1179327"/>
                  <a:pt x="429584" y="1085586"/>
                </a:cubicBezTo>
                <a:lnTo>
                  <a:pt x="426125" y="1072133"/>
                </a:lnTo>
                <a:lnTo>
                  <a:pt x="428213" y="1071596"/>
                </a:lnTo>
                <a:cubicBezTo>
                  <a:pt x="879120" y="931350"/>
                  <a:pt x="1235015" y="575455"/>
                  <a:pt x="1375261" y="124548"/>
                </a:cubicBezTo>
                <a:lnTo>
                  <a:pt x="1407286" y="0"/>
                </a:lnTo>
                <a:close/>
              </a:path>
            </a:pathLst>
          </a:custGeom>
          <a:solidFill>
            <a:schemeClr val="bg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reeform 22">
            <a:extLst>
              <a:ext uri="{FF2B5EF4-FFF2-40B4-BE49-F238E27FC236}">
                <a16:creationId xmlns:a16="http://schemas.microsoft.com/office/drawing/2014/main" id="{8CF66FCB-8F50-477D-9E7C-E5685BC0D97A}"/>
              </a:ext>
            </a:extLst>
          </p:cNvPr>
          <p:cNvSpPr/>
          <p:nvPr/>
        </p:nvSpPr>
        <p:spPr>
          <a:xfrm>
            <a:off x="1591324" y="3202951"/>
            <a:ext cx="1372935" cy="1108602"/>
          </a:xfrm>
          <a:custGeom>
            <a:avLst/>
            <a:gdLst>
              <a:gd name="connsiteX0" fmla="*/ 426124 w 1407284"/>
              <a:gd name="connsiteY0" fmla="*/ 0 h 1136337"/>
              <a:gd name="connsiteX1" fmla="*/ 1342098 w 1407284"/>
              <a:gd name="connsiteY1" fmla="*/ 328826 h 1136337"/>
              <a:gd name="connsiteX2" fmla="*/ 1407284 w 1407284"/>
              <a:gd name="connsiteY2" fmla="*/ 388071 h 1136337"/>
              <a:gd name="connsiteX3" fmla="*/ 1370210 w 1407284"/>
              <a:gd name="connsiteY3" fmla="*/ 421766 h 1136337"/>
              <a:gd name="connsiteX4" fmla="*/ 1013184 w 1407284"/>
              <a:gd name="connsiteY4" fmla="*/ 1011788 h 1136337"/>
              <a:gd name="connsiteX5" fmla="*/ 981159 w 1407284"/>
              <a:gd name="connsiteY5" fmla="*/ 1136337 h 1136337"/>
              <a:gd name="connsiteX6" fmla="*/ 979073 w 1407284"/>
              <a:gd name="connsiteY6" fmla="*/ 1135800 h 1136337"/>
              <a:gd name="connsiteX7" fmla="*/ 32025 w 1407284"/>
              <a:gd name="connsiteY7" fmla="*/ 188752 h 1136337"/>
              <a:gd name="connsiteX8" fmla="*/ 0 w 1407284"/>
              <a:gd name="connsiteY8" fmla="*/ 64203 h 1136337"/>
              <a:gd name="connsiteX9" fmla="*/ 135914 w 1407284"/>
              <a:gd name="connsiteY9" fmla="*/ 29256 h 1136337"/>
              <a:gd name="connsiteX10" fmla="*/ 426124 w 1407284"/>
              <a:gd name="connsiteY10" fmla="*/ 0 h 113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7284" h="1136337">
                <a:moveTo>
                  <a:pt x="426124" y="0"/>
                </a:moveTo>
                <a:cubicBezTo>
                  <a:pt x="774063" y="0"/>
                  <a:pt x="1093181" y="123402"/>
                  <a:pt x="1342098" y="328826"/>
                </a:cubicBezTo>
                <a:lnTo>
                  <a:pt x="1407284" y="388071"/>
                </a:lnTo>
                <a:lnTo>
                  <a:pt x="1370210" y="421766"/>
                </a:lnTo>
                <a:cubicBezTo>
                  <a:pt x="1207343" y="584634"/>
                  <a:pt x="1083307" y="786335"/>
                  <a:pt x="1013184" y="1011788"/>
                </a:cubicBezTo>
                <a:lnTo>
                  <a:pt x="981159" y="1136337"/>
                </a:lnTo>
                <a:lnTo>
                  <a:pt x="979073" y="1135800"/>
                </a:lnTo>
                <a:cubicBezTo>
                  <a:pt x="528166" y="995554"/>
                  <a:pt x="172271" y="639659"/>
                  <a:pt x="32025" y="188752"/>
                </a:cubicBezTo>
                <a:lnTo>
                  <a:pt x="0" y="64203"/>
                </a:lnTo>
                <a:lnTo>
                  <a:pt x="135914" y="29256"/>
                </a:lnTo>
                <a:cubicBezTo>
                  <a:pt x="229654" y="10074"/>
                  <a:pt x="326713" y="0"/>
                  <a:pt x="426124" y="0"/>
                </a:cubicBezTo>
                <a:close/>
              </a:path>
            </a:pathLst>
          </a:custGeom>
          <a:solidFill>
            <a:schemeClr val="tx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reeform 20">
            <a:extLst>
              <a:ext uri="{FF2B5EF4-FFF2-40B4-BE49-F238E27FC236}">
                <a16:creationId xmlns:a16="http://schemas.microsoft.com/office/drawing/2014/main" id="{DF1BC610-FE43-45A3-AB6B-9A33FA1F1104}"/>
              </a:ext>
            </a:extLst>
          </p:cNvPr>
          <p:cNvSpPr/>
          <p:nvPr/>
        </p:nvSpPr>
        <p:spPr>
          <a:xfrm>
            <a:off x="2964259" y="3202951"/>
            <a:ext cx="1372937" cy="1108602"/>
          </a:xfrm>
          <a:custGeom>
            <a:avLst/>
            <a:gdLst>
              <a:gd name="connsiteX0" fmla="*/ 981160 w 1407286"/>
              <a:gd name="connsiteY0" fmla="*/ 0 h 1136337"/>
              <a:gd name="connsiteX1" fmla="*/ 1271370 w 1407286"/>
              <a:gd name="connsiteY1" fmla="*/ 29256 h 1136337"/>
              <a:gd name="connsiteX2" fmla="*/ 1407286 w 1407286"/>
              <a:gd name="connsiteY2" fmla="*/ 64204 h 1136337"/>
              <a:gd name="connsiteX3" fmla="*/ 1375261 w 1407286"/>
              <a:gd name="connsiteY3" fmla="*/ 188752 h 1136337"/>
              <a:gd name="connsiteX4" fmla="*/ 428213 w 1407286"/>
              <a:gd name="connsiteY4" fmla="*/ 1135800 h 1136337"/>
              <a:gd name="connsiteX5" fmla="*/ 426125 w 1407286"/>
              <a:gd name="connsiteY5" fmla="*/ 1136337 h 1136337"/>
              <a:gd name="connsiteX6" fmla="*/ 394100 w 1407286"/>
              <a:gd name="connsiteY6" fmla="*/ 1011788 h 1136337"/>
              <a:gd name="connsiteX7" fmla="*/ 37074 w 1407286"/>
              <a:gd name="connsiteY7" fmla="*/ 421766 h 1136337"/>
              <a:gd name="connsiteX8" fmla="*/ 0 w 1407286"/>
              <a:gd name="connsiteY8" fmla="*/ 388071 h 1136337"/>
              <a:gd name="connsiteX9" fmla="*/ 65186 w 1407286"/>
              <a:gd name="connsiteY9" fmla="*/ 328826 h 1136337"/>
              <a:gd name="connsiteX10" fmla="*/ 981160 w 1407286"/>
              <a:gd name="connsiteY10" fmla="*/ 0 h 113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7286" h="1136337">
                <a:moveTo>
                  <a:pt x="981160" y="0"/>
                </a:moveTo>
                <a:cubicBezTo>
                  <a:pt x="1080571" y="0"/>
                  <a:pt x="1177630" y="10074"/>
                  <a:pt x="1271370" y="29256"/>
                </a:cubicBezTo>
                <a:lnTo>
                  <a:pt x="1407286" y="64204"/>
                </a:lnTo>
                <a:lnTo>
                  <a:pt x="1375261" y="188752"/>
                </a:lnTo>
                <a:cubicBezTo>
                  <a:pt x="1235015" y="639659"/>
                  <a:pt x="879120" y="995554"/>
                  <a:pt x="428213" y="1135800"/>
                </a:cubicBezTo>
                <a:lnTo>
                  <a:pt x="426125" y="1136337"/>
                </a:lnTo>
                <a:lnTo>
                  <a:pt x="394100" y="1011788"/>
                </a:lnTo>
                <a:cubicBezTo>
                  <a:pt x="323977" y="786335"/>
                  <a:pt x="199942" y="584634"/>
                  <a:pt x="37074" y="421766"/>
                </a:cubicBezTo>
                <a:lnTo>
                  <a:pt x="0" y="388071"/>
                </a:lnTo>
                <a:lnTo>
                  <a:pt x="65186" y="328826"/>
                </a:lnTo>
                <a:cubicBezTo>
                  <a:pt x="314103" y="123402"/>
                  <a:pt x="633221" y="0"/>
                  <a:pt x="981160" y="0"/>
                </a:cubicBezTo>
                <a:close/>
              </a:path>
            </a:pathLst>
          </a:custGeom>
          <a:solidFill>
            <a:schemeClr val="accent2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0EE8BD56-6553-400A-9CEB-396D22234FDC}"/>
              </a:ext>
            </a:extLst>
          </p:cNvPr>
          <p:cNvSpPr/>
          <p:nvPr/>
        </p:nvSpPr>
        <p:spPr>
          <a:xfrm>
            <a:off x="2516617" y="4303123"/>
            <a:ext cx="895281" cy="1330936"/>
          </a:xfrm>
          <a:custGeom>
            <a:avLst/>
            <a:gdLst>
              <a:gd name="connsiteX0" fmla="*/ 32715 w 917680"/>
              <a:gd name="connsiteY0" fmla="*/ 0 h 1355592"/>
              <a:gd name="connsiteX1" fmla="*/ 168631 w 917680"/>
              <a:gd name="connsiteY1" fmla="*/ 34947 h 1355592"/>
              <a:gd name="connsiteX2" fmla="*/ 458841 w 917680"/>
              <a:gd name="connsiteY2" fmla="*/ 64203 h 1355592"/>
              <a:gd name="connsiteX3" fmla="*/ 749051 w 917680"/>
              <a:gd name="connsiteY3" fmla="*/ 34947 h 1355592"/>
              <a:gd name="connsiteX4" fmla="*/ 884965 w 917680"/>
              <a:gd name="connsiteY4" fmla="*/ 0 h 1355592"/>
              <a:gd name="connsiteX5" fmla="*/ 888424 w 917680"/>
              <a:gd name="connsiteY5" fmla="*/ 13453 h 1355592"/>
              <a:gd name="connsiteX6" fmla="*/ 917680 w 917680"/>
              <a:gd name="connsiteY6" fmla="*/ 303663 h 1355592"/>
              <a:gd name="connsiteX7" fmla="*/ 495914 w 917680"/>
              <a:gd name="connsiteY7" fmla="*/ 1321897 h 1355592"/>
              <a:gd name="connsiteX8" fmla="*/ 458840 w 917680"/>
              <a:gd name="connsiteY8" fmla="*/ 1355592 h 1355592"/>
              <a:gd name="connsiteX9" fmla="*/ 421766 w 917680"/>
              <a:gd name="connsiteY9" fmla="*/ 1321897 h 1355592"/>
              <a:gd name="connsiteX10" fmla="*/ 0 w 917680"/>
              <a:gd name="connsiteY10" fmla="*/ 303663 h 1355592"/>
              <a:gd name="connsiteX11" fmla="*/ 29256 w 917680"/>
              <a:gd name="connsiteY11" fmla="*/ 13453 h 1355592"/>
              <a:gd name="connsiteX12" fmla="*/ 32715 w 917680"/>
              <a:gd name="connsiteY12" fmla="*/ 0 h 135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17680" h="1355592">
                <a:moveTo>
                  <a:pt x="32715" y="0"/>
                </a:moveTo>
                <a:lnTo>
                  <a:pt x="168631" y="34947"/>
                </a:lnTo>
                <a:cubicBezTo>
                  <a:pt x="262372" y="54130"/>
                  <a:pt x="359430" y="64203"/>
                  <a:pt x="458841" y="64203"/>
                </a:cubicBezTo>
                <a:cubicBezTo>
                  <a:pt x="558252" y="64203"/>
                  <a:pt x="655311" y="54130"/>
                  <a:pt x="749051" y="34947"/>
                </a:cubicBezTo>
                <a:lnTo>
                  <a:pt x="884965" y="0"/>
                </a:lnTo>
                <a:lnTo>
                  <a:pt x="888424" y="13453"/>
                </a:lnTo>
                <a:cubicBezTo>
                  <a:pt x="907607" y="107194"/>
                  <a:pt x="917680" y="204252"/>
                  <a:pt x="917680" y="303663"/>
                </a:cubicBezTo>
                <a:cubicBezTo>
                  <a:pt x="917680" y="701308"/>
                  <a:pt x="756503" y="1061308"/>
                  <a:pt x="495914" y="1321897"/>
                </a:cubicBezTo>
                <a:lnTo>
                  <a:pt x="458840" y="1355592"/>
                </a:lnTo>
                <a:lnTo>
                  <a:pt x="421766" y="1321897"/>
                </a:lnTo>
                <a:cubicBezTo>
                  <a:pt x="161178" y="1061308"/>
                  <a:pt x="0" y="701308"/>
                  <a:pt x="0" y="303663"/>
                </a:cubicBezTo>
                <a:cubicBezTo>
                  <a:pt x="0" y="204252"/>
                  <a:pt x="10074" y="107194"/>
                  <a:pt x="29256" y="13453"/>
                </a:cubicBezTo>
                <a:lnTo>
                  <a:pt x="32715" y="0"/>
                </a:lnTo>
                <a:close/>
              </a:path>
            </a:pathLst>
          </a:custGeom>
          <a:solidFill>
            <a:schemeClr val="accent1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Freeform 15">
            <a:extLst>
              <a:ext uri="{FF2B5EF4-FFF2-40B4-BE49-F238E27FC236}">
                <a16:creationId xmlns:a16="http://schemas.microsoft.com/office/drawing/2014/main" id="{9A660148-539F-43C5-AA4F-3DDC9D8B6D7A}"/>
              </a:ext>
            </a:extLst>
          </p:cNvPr>
          <p:cNvSpPr/>
          <p:nvPr/>
        </p:nvSpPr>
        <p:spPr>
          <a:xfrm>
            <a:off x="2548535" y="3581550"/>
            <a:ext cx="831449" cy="792638"/>
          </a:xfrm>
          <a:custGeom>
            <a:avLst/>
            <a:gdLst>
              <a:gd name="connsiteX0" fmla="*/ 426125 w 852250"/>
              <a:gd name="connsiteY0" fmla="*/ 0 h 812469"/>
              <a:gd name="connsiteX1" fmla="*/ 463199 w 852250"/>
              <a:gd name="connsiteY1" fmla="*/ 33695 h 812469"/>
              <a:gd name="connsiteX2" fmla="*/ 820225 w 852250"/>
              <a:gd name="connsiteY2" fmla="*/ 623717 h 812469"/>
              <a:gd name="connsiteX3" fmla="*/ 852250 w 852250"/>
              <a:gd name="connsiteY3" fmla="*/ 748266 h 812469"/>
              <a:gd name="connsiteX4" fmla="*/ 716336 w 852250"/>
              <a:gd name="connsiteY4" fmla="*/ 783213 h 812469"/>
              <a:gd name="connsiteX5" fmla="*/ 426126 w 852250"/>
              <a:gd name="connsiteY5" fmla="*/ 812469 h 812469"/>
              <a:gd name="connsiteX6" fmla="*/ 135916 w 852250"/>
              <a:gd name="connsiteY6" fmla="*/ 783213 h 812469"/>
              <a:gd name="connsiteX7" fmla="*/ 0 w 852250"/>
              <a:gd name="connsiteY7" fmla="*/ 748266 h 812469"/>
              <a:gd name="connsiteX8" fmla="*/ 32025 w 852250"/>
              <a:gd name="connsiteY8" fmla="*/ 623717 h 812469"/>
              <a:gd name="connsiteX9" fmla="*/ 389051 w 852250"/>
              <a:gd name="connsiteY9" fmla="*/ 33695 h 812469"/>
              <a:gd name="connsiteX10" fmla="*/ 426125 w 852250"/>
              <a:gd name="connsiteY10" fmla="*/ 0 h 812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2250" h="812469">
                <a:moveTo>
                  <a:pt x="426125" y="0"/>
                </a:moveTo>
                <a:lnTo>
                  <a:pt x="463199" y="33695"/>
                </a:lnTo>
                <a:cubicBezTo>
                  <a:pt x="626067" y="196563"/>
                  <a:pt x="750102" y="398264"/>
                  <a:pt x="820225" y="623717"/>
                </a:cubicBezTo>
                <a:lnTo>
                  <a:pt x="852250" y="748266"/>
                </a:lnTo>
                <a:lnTo>
                  <a:pt x="716336" y="783213"/>
                </a:lnTo>
                <a:cubicBezTo>
                  <a:pt x="622596" y="802396"/>
                  <a:pt x="525537" y="812469"/>
                  <a:pt x="426126" y="812469"/>
                </a:cubicBezTo>
                <a:cubicBezTo>
                  <a:pt x="326715" y="812469"/>
                  <a:pt x="229657" y="802396"/>
                  <a:pt x="135916" y="783213"/>
                </a:cubicBezTo>
                <a:lnTo>
                  <a:pt x="0" y="748266"/>
                </a:lnTo>
                <a:lnTo>
                  <a:pt x="32025" y="623717"/>
                </a:lnTo>
                <a:cubicBezTo>
                  <a:pt x="102148" y="398264"/>
                  <a:pt x="226184" y="196563"/>
                  <a:pt x="389051" y="33695"/>
                </a:cubicBezTo>
                <a:lnTo>
                  <a:pt x="426125" y="0"/>
                </a:lnTo>
                <a:close/>
              </a:path>
            </a:pathLst>
          </a:custGeom>
          <a:solidFill>
            <a:schemeClr val="tx1"/>
          </a:solidFill>
          <a:ln w="95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F10C88A-367A-41A8-8633-5E5BCFD09C5C}"/>
              </a:ext>
            </a:extLst>
          </p:cNvPr>
          <p:cNvSpPr/>
          <p:nvPr/>
        </p:nvSpPr>
        <p:spPr bwMode="auto">
          <a:xfrm>
            <a:off x="2738834" y="3806419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4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6B197C-480C-4448-B3DE-AAB8387FE506}"/>
              </a:ext>
            </a:extLst>
          </p:cNvPr>
          <p:cNvSpPr/>
          <p:nvPr/>
        </p:nvSpPr>
        <p:spPr bwMode="auto">
          <a:xfrm>
            <a:off x="3425303" y="3585802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2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D12204B-FFA7-4FEC-B36F-E6DAF59EBD75}"/>
              </a:ext>
            </a:extLst>
          </p:cNvPr>
          <p:cNvSpPr/>
          <p:nvPr/>
        </p:nvSpPr>
        <p:spPr bwMode="auto">
          <a:xfrm>
            <a:off x="2052367" y="3585802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1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97E1758-FAA6-4379-BAA9-DC1F8B32B17E}"/>
              </a:ext>
            </a:extLst>
          </p:cNvPr>
          <p:cNvSpPr/>
          <p:nvPr/>
        </p:nvSpPr>
        <p:spPr bwMode="auto">
          <a:xfrm>
            <a:off x="2738832" y="4654657"/>
            <a:ext cx="450850" cy="34290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3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2B87762-40AE-4718-AF51-CCFC640F4D70}"/>
              </a:ext>
            </a:extLst>
          </p:cNvPr>
          <p:cNvSpPr/>
          <p:nvPr/>
        </p:nvSpPr>
        <p:spPr bwMode="auto">
          <a:xfrm>
            <a:off x="2052366" y="2316516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e Simula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99AD073-DCDD-4658-9E8A-CADC0F981956}"/>
              </a:ext>
            </a:extLst>
          </p:cNvPr>
          <p:cNvSpPr/>
          <p:nvPr/>
        </p:nvSpPr>
        <p:spPr bwMode="auto">
          <a:xfrm>
            <a:off x="871333" y="4382623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AA74090-2870-475C-88B6-73F9B03A4CFD}"/>
              </a:ext>
            </a:extLst>
          </p:cNvPr>
          <p:cNvSpPr/>
          <p:nvPr/>
        </p:nvSpPr>
        <p:spPr bwMode="auto">
          <a:xfrm>
            <a:off x="3233399" y="4382623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ssdaten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B55ED55-BC45-4D50-B5B1-BC9BD43D671E}"/>
              </a:ext>
            </a:extLst>
          </p:cNvPr>
          <p:cNvGrpSpPr/>
          <p:nvPr/>
        </p:nvGrpSpPr>
        <p:grpSpPr>
          <a:xfrm>
            <a:off x="6375400" y="1429678"/>
            <a:ext cx="5481638" cy="756962"/>
            <a:chOff x="6375400" y="1268413"/>
            <a:chExt cx="5481638" cy="756962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09171FA-0F9C-4BD2-8024-176B4E221EFF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defRPr/>
              </a:pPr>
              <a:endParaRPr lang="de-DE" sz="1600" kern="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de-DE" sz="1600" kern="0" dirty="0">
                  <a:solidFill>
                    <a:srgbClr val="000000"/>
                  </a:solidFill>
                  <a:latin typeface="Arial"/>
                  <a:cs typeface="Arial"/>
                </a:rPr>
                <a:t>Korrelationsanalyse geometrischer Parameter und der Simulationsdaten </a:t>
              </a:r>
              <a:endParaRPr lang="de-DE" sz="1600" kern="0" dirty="0">
                <a:cs typeface="Arial" panose="020B0604020202020204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0F09922B-7525-450D-86CF-BBE9D2B403AD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prstClr val="white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6B7CD0E-F1A7-4BBA-B95D-B8B613077E15}"/>
              </a:ext>
            </a:extLst>
          </p:cNvPr>
          <p:cNvGrpSpPr/>
          <p:nvPr/>
        </p:nvGrpSpPr>
        <p:grpSpPr>
          <a:xfrm>
            <a:off x="6375400" y="2756818"/>
            <a:ext cx="5481638" cy="756962"/>
            <a:chOff x="6375400" y="1268413"/>
            <a:chExt cx="5481638" cy="756962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6C9C8FCF-6810-474D-895D-B9EAEFF903B6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defRPr/>
              </a:pPr>
              <a:r>
                <a:rPr lang="de-DE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Korrelationsanalyse der geschaffenen Messdatengrundlage und den Simulationsdaten</a:t>
              </a:r>
              <a:endParaRPr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18C41D92-167E-4931-993A-2B559DE853F1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accent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prstClr val="white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2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C549EC8B-D476-46D2-BFA3-EE81D96D4BA0}"/>
              </a:ext>
            </a:extLst>
          </p:cNvPr>
          <p:cNvGrpSpPr/>
          <p:nvPr/>
        </p:nvGrpSpPr>
        <p:grpSpPr>
          <a:xfrm>
            <a:off x="6375400" y="4083959"/>
            <a:ext cx="5481638" cy="756962"/>
            <a:chOff x="6375400" y="1268413"/>
            <a:chExt cx="5481638" cy="756962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602C0E2F-D632-4006-9AC6-57AE36C5C7B8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defRPr/>
              </a:pPr>
              <a:endParaRPr lang="de-DE" sz="1600" kern="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Zusammenhänge </a:t>
              </a:r>
              <a:r>
                <a:rPr lang="de-DE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zwischen der erstellten Messdatengrundlage und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 </a:t>
              </a:r>
              <a:r>
                <a:rPr lang="de-DE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r </a:t>
              </a: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geometrischen Beschaffenheiten</a:t>
              </a:r>
              <a:r>
                <a:rPr lang="de-DE" sz="160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 der Zahnräder</a:t>
              </a:r>
              <a:endParaRPr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 typeface="Arial"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33CA937-512A-4469-869D-7DF5BF7798FE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prstClr val="white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6625373-F643-46EB-B034-963D9A1F530B}"/>
              </a:ext>
            </a:extLst>
          </p:cNvPr>
          <p:cNvGrpSpPr/>
          <p:nvPr/>
        </p:nvGrpSpPr>
        <p:grpSpPr>
          <a:xfrm>
            <a:off x="6375400" y="5411101"/>
            <a:ext cx="5481638" cy="756962"/>
            <a:chOff x="6375400" y="1268413"/>
            <a:chExt cx="5481638" cy="756962"/>
          </a:xfrm>
        </p:grpSpPr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AA3EDBB9-832D-4DCE-A739-8E94AF33D186}"/>
                </a:ext>
              </a:extLst>
            </p:cNvPr>
            <p:cNvSpPr/>
            <p:nvPr/>
          </p:nvSpPr>
          <p:spPr bwMode="auto">
            <a:xfrm>
              <a:off x="7169150" y="1268413"/>
              <a:ext cx="4687888" cy="756962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 typeface="Arial"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FFFF"/>
                </a:buClr>
                <a:buSzPct val="150000"/>
                <a:buFont typeface="Arial"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DDDD3FFC-4D24-43D8-AC1A-72974BC14627}"/>
                </a:ext>
              </a:extLst>
            </p:cNvPr>
            <p:cNvSpPr/>
            <p:nvPr/>
          </p:nvSpPr>
          <p:spPr bwMode="auto">
            <a:xfrm>
              <a:off x="6375400" y="1376894"/>
              <a:ext cx="540000" cy="540000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prstClr val="white"/>
                </a:buClr>
                <a:buSzPct val="15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04</a:t>
              </a:r>
            </a:p>
          </p:txBody>
        </p:sp>
      </p:grp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6964F4BD-42BF-470A-8BA1-C1E383BFDCE7}"/>
              </a:ext>
            </a:extLst>
          </p:cNvPr>
          <p:cNvCxnSpPr/>
          <p:nvPr/>
        </p:nvCxnSpPr>
        <p:spPr bwMode="auto">
          <a:xfrm>
            <a:off x="6375400" y="5126011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D9D18833-B2D8-4B69-9584-042A2B2DC9AC}"/>
              </a:ext>
            </a:extLst>
          </p:cNvPr>
          <p:cNvCxnSpPr/>
          <p:nvPr/>
        </p:nvCxnSpPr>
        <p:spPr bwMode="auto">
          <a:xfrm>
            <a:off x="6375400" y="3798869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2021B6EE-494A-475A-87F9-7940A00E4301}"/>
              </a:ext>
            </a:extLst>
          </p:cNvPr>
          <p:cNvCxnSpPr/>
          <p:nvPr/>
        </p:nvCxnSpPr>
        <p:spPr bwMode="auto">
          <a:xfrm>
            <a:off x="6375400" y="2471729"/>
            <a:ext cx="5481638" cy="0"/>
          </a:xfrm>
          <a:prstGeom prst="line">
            <a:avLst/>
          </a:prstGeom>
          <a:ln w="12700">
            <a:prstDash val="sysDot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hteck 22">
            <a:extLst>
              <a:ext uri="{FF2B5EF4-FFF2-40B4-BE49-F238E27FC236}">
                <a16:creationId xmlns:a16="http://schemas.microsoft.com/office/drawing/2014/main" id="{40C44D6B-B201-4DEC-4AB0-2FD9A4B0CD3B}"/>
              </a:ext>
            </a:extLst>
          </p:cNvPr>
          <p:cNvSpPr/>
          <p:nvPr/>
        </p:nvSpPr>
        <p:spPr bwMode="auto">
          <a:xfrm>
            <a:off x="892387" y="4364262"/>
            <a:ext cx="1823786" cy="5129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ometrisch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prstClr val="white"/>
              </a:buClr>
              <a:buSzPct val="15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lyse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4" name="Picture 2" descr="Dentsply Sirona Deutschland: Dentalprodukte &amp; Technologien Deutschland">
            <a:extLst>
              <a:ext uri="{FF2B5EF4-FFF2-40B4-BE49-F238E27FC236}">
                <a16:creationId xmlns:a16="http://schemas.microsoft.com/office/drawing/2014/main" id="{02127A8C-4EDF-BA24-1CD1-22F058C46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619" y="462633"/>
            <a:ext cx="1227546" cy="69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hteck 38">
            <a:extLst>
              <a:ext uri="{FF2B5EF4-FFF2-40B4-BE49-F238E27FC236}">
                <a16:creationId xmlns:a16="http://schemas.microsoft.com/office/drawing/2014/main" id="{B95BC937-4915-2014-F61A-690B928073AC}"/>
              </a:ext>
            </a:extLst>
          </p:cNvPr>
          <p:cNvSpPr/>
          <p:nvPr/>
        </p:nvSpPr>
        <p:spPr bwMode="auto">
          <a:xfrm>
            <a:off x="7169150" y="5381890"/>
            <a:ext cx="4687888" cy="756962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150000"/>
              <a:defRPr/>
            </a:pPr>
            <a:r>
              <a:rPr lang="de-DE" sz="1600" kern="0" dirty="0">
                <a:solidFill>
                  <a:srgbClr val="000000"/>
                </a:solidFill>
                <a:latin typeface="Arial"/>
                <a:cs typeface="Arial"/>
              </a:rPr>
              <a:t>Zusammenführen der Erkenntnisse </a:t>
            </a:r>
            <a:endParaRPr lang="de-DE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Pct val="150000"/>
              <a:buFont typeface="Arial"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raining eines KI Modells zur Ergebnisvorhersage</a:t>
            </a:r>
            <a:endParaRPr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9B4D6D-C688-1A4F-A56E-64E33FE34230}"/>
              </a:ext>
            </a:extLst>
          </p:cNvPr>
          <p:cNvSpPr/>
          <p:nvPr/>
        </p:nvSpPr>
        <p:spPr>
          <a:xfrm>
            <a:off x="1591324" y="6422571"/>
            <a:ext cx="10265714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896819-A896-6836-7094-5AAA1B3E2253}"/>
              </a:ext>
            </a:extLst>
          </p:cNvPr>
          <p:cNvSpPr txBox="1"/>
          <p:nvPr/>
        </p:nvSpPr>
        <p:spPr>
          <a:xfrm>
            <a:off x="602192" y="6451782"/>
            <a:ext cx="115898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tx2"/>
                </a:solidFill>
              </a:rPr>
              <a:t>Data Science in </a:t>
            </a:r>
            <a:r>
              <a:rPr lang="de-DE" sz="1200">
                <a:solidFill>
                  <a:schemeClr val="tx2"/>
                </a:solidFill>
              </a:rPr>
              <a:t>der Produktion           </a:t>
            </a:r>
            <a:r>
              <a:rPr lang="de-DE" sz="1200" dirty="0">
                <a:solidFill>
                  <a:schemeClr val="tx2"/>
                </a:solidFill>
              </a:rPr>
              <a:t>Moritz Beyer, Aaron Grommes, Aaron Neumann, Maxime </a:t>
            </a:r>
            <a:r>
              <a:rPr lang="de-DE" sz="1200" dirty="0" err="1">
                <a:solidFill>
                  <a:schemeClr val="tx2"/>
                </a:solidFill>
              </a:rPr>
              <a:t>Siewe</a:t>
            </a:r>
            <a:r>
              <a:rPr lang="de-DE" sz="1200" dirty="0">
                <a:solidFill>
                  <a:schemeClr val="tx2"/>
                </a:solidFill>
              </a:rPr>
              <a:t>, Zeynep Özen              WBK Institut für Produktionstechnik </a:t>
            </a:r>
          </a:p>
        </p:txBody>
      </p:sp>
    </p:spTree>
    <p:extLst>
      <p:ext uri="{BB962C8B-B14F-4D97-AF65-F5344CB8AC3E}">
        <p14:creationId xmlns:p14="http://schemas.microsoft.com/office/powerpoint/2010/main" val="22415724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lienmaster_Fächer">
  <a:themeElements>
    <a:clrScheme name="KIT FARBEN">
      <a:dk1>
        <a:sysClr val="windowText" lastClr="000000"/>
      </a:dk1>
      <a:lt1>
        <a:sysClr val="window" lastClr="FFFFFF"/>
      </a:lt1>
      <a:dk2>
        <a:srgbClr val="009682"/>
      </a:dk2>
      <a:lt2>
        <a:srgbClr val="D9D9D9"/>
      </a:lt2>
      <a:accent1>
        <a:srgbClr val="4664AA"/>
      </a:accent1>
      <a:accent2>
        <a:srgbClr val="23A1E0"/>
      </a:accent2>
      <a:accent3>
        <a:srgbClr val="8CB63C"/>
      </a:accent3>
      <a:accent4>
        <a:srgbClr val="A3107C"/>
      </a:accent4>
      <a:accent5>
        <a:srgbClr val="DF9B1B"/>
      </a:accent5>
      <a:accent6>
        <a:srgbClr val="FCE500"/>
      </a:accent6>
      <a:hlink>
        <a:srgbClr val="4664AA"/>
      </a:hlink>
      <a:folHlink>
        <a:srgbClr val="A2222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ign1" id="{D385F135-4BB1-4144-883F-BD663B3FA4BF}" vid="{9BD07EEE-6672-4655-8F7E-3FE0E154673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47E7A989D9D3940A930332EAF3D2A48" ma:contentTypeVersion="5" ma:contentTypeDescription="Ein neues Dokument erstellen." ma:contentTypeScope="" ma:versionID="1fae0c9d157c346448ea00523973974f">
  <xsd:schema xmlns:xsd="http://www.w3.org/2001/XMLSchema" xmlns:xs="http://www.w3.org/2001/XMLSchema" xmlns:p="http://schemas.microsoft.com/office/2006/metadata/properties" xmlns:ns2="38323aaf-243e-461f-8a0f-48eaf67dffba" targetNamespace="http://schemas.microsoft.com/office/2006/metadata/properties" ma:root="true" ma:fieldsID="0be9a81b4c10d0586dc12a4d79cc3e60" ns2:_="">
    <xsd:import namespace="38323aaf-243e-461f-8a0f-48eaf67dff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323aaf-243e-461f-8a0f-48eaf67dff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DC4229-6727-4927-A723-80E0315F018B}">
  <ds:schemaRefs>
    <ds:schemaRef ds:uri="http://purl.org/dc/dcmitype/"/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38323aaf-243e-461f-8a0f-48eaf67dffb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DA4E580-C3E7-4726-98CC-4EFB908263C2}"/>
</file>

<file path=customXml/itemProps3.xml><?xml version="1.0" encoding="utf-8"?>
<ds:datastoreItem xmlns:ds="http://schemas.openxmlformats.org/officeDocument/2006/customXml" ds:itemID="{C73FFE77-3D2E-45D2-A2EB-242B2AF099D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81</Words>
  <Application>Microsoft Macintosh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Folienmaster_Fächer</vt:lpstr>
      <vt:lpstr>think-cell Slide</vt:lpstr>
      <vt:lpstr>Erforschen, Analysieren, Optimieren:  Ein dreiteiliges Projekt zur Zahnradanaly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forschen, Analysieren, Optimieren:  Ein dreiteiliges Projekt zur Zahnradanalyse</dc:title>
  <dc:creator>Neumann, Aaron David</dc:creator>
  <cp:lastModifiedBy>Neumann, Aaron David</cp:lastModifiedBy>
  <cp:revision>42</cp:revision>
  <dcterms:created xsi:type="dcterms:W3CDTF">2023-07-14T16:47:11Z</dcterms:created>
  <dcterms:modified xsi:type="dcterms:W3CDTF">2023-07-16T18:5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7E7A989D9D3940A930332EAF3D2A48</vt:lpwstr>
  </property>
</Properties>
</file>